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</p:sldMasterIdLst>
  <p:notesMasterIdLst>
    <p:notesMasterId r:id="rId11"/>
  </p:notesMasterIdLst>
  <p:sldIdLst>
    <p:sldId id="855" r:id="rId3"/>
    <p:sldId id="858" r:id="rId4"/>
    <p:sldId id="869" r:id="rId5"/>
    <p:sldId id="859" r:id="rId6"/>
    <p:sldId id="862" r:id="rId7"/>
    <p:sldId id="863" r:id="rId8"/>
    <p:sldId id="846" r:id="rId9"/>
    <p:sldId id="870" r:id="rId10"/>
  </p:sldIdLst>
  <p:sldSz cx="9144000" cy="5145088"/>
  <p:notesSz cx="6794500" cy="9906000"/>
  <p:custDataLst>
    <p:tags r:id="rId12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58"/>
            <p14:sldId id="869"/>
            <p14:sldId id="859"/>
            <p14:sldId id="862"/>
            <p14:sldId id="863"/>
            <p14:sldId id="846"/>
            <p14:sldId id="870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03" autoAdjust="0"/>
    <p:restoredTop sz="99886" autoAdjust="0"/>
  </p:normalViewPr>
  <p:slideViewPr>
    <p:cSldViewPr>
      <p:cViewPr varScale="1">
        <p:scale>
          <a:sx n="96" d="100"/>
          <a:sy n="96" d="100"/>
        </p:scale>
        <p:origin x="414" y="78"/>
      </p:cViewPr>
      <p:guideLst>
        <p:guide orient="horz" pos="1621"/>
        <p:guide pos="2880"/>
        <p:guide orient="horz" pos="1801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20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098341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 r="2445" b="602"/>
          <a:stretch/>
        </p:blipFill>
        <p:spPr>
          <a:xfrm>
            <a:off x="1" y="-20491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5" y="219432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178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9986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660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48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6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68885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9557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0765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10634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8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0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9954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709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351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790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789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9070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26338947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21"/>
            <a:ext cx="7040076" cy="1024783"/>
          </a:xfrm>
          <a:prstGeom prst="rect">
            <a:avLst/>
          </a:prstGeom>
        </p:spPr>
        <p:txBody>
          <a:bodyPr vert="horz" lIns="0" tIns="45704" rIns="91408" bIns="4570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04" rIns="91408" bIns="4570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625256" lvl="3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9426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ect">
            <a:avLst/>
          </a:prstGeom>
        </p:spPr>
        <p:txBody>
          <a:bodyPr vert="horz" lIns="0" tIns="45704" rIns="0" bIns="4570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</p:sldLayoutIdLst>
  <p:hf hdr="0" ftr="0" dt="0"/>
  <p:txStyles>
    <p:titleStyle>
      <a:lvl1pPr marL="0" indent="0" algn="l" defTabSz="45704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12" indent="-180912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476" indent="-174565" algn="l" defTabSz="45704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692" indent="-95217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256" indent="-174565" algn="l" defTabSz="457040" rtl="0" eaLnBrk="1" latinLnBrk="0" hangingPunct="1">
        <a:spcBef>
          <a:spcPct val="20000"/>
        </a:spcBef>
        <a:buFont typeface="Arial"/>
        <a:buChar char="–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692" indent="-95217" algn="l" defTabSz="457040" rtl="0" eaLnBrk="1" latinLnBrk="0" hangingPunct="1">
        <a:spcBef>
          <a:spcPct val="20000"/>
        </a:spcBef>
        <a:buFont typeface="Arial"/>
        <a:buChar char="•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372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ЕКТ АГЕНТСКАЯ СЕ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2539124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marL="0" indent="0" defTabSz="914400"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снятие наличных, прием платежей и т.д.* </a:t>
            </a: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кассах </a:t>
            </a:r>
            <a:r>
              <a:rPr lang="ru-RU" sz="1500" dirty="0" err="1">
                <a:solidFill>
                  <a:schemeClr val="tx1"/>
                </a:solidFill>
                <a:latin typeface="+mn-lt"/>
              </a:rPr>
              <a:t>Эвотор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начала сотрудничества предприниматель подписывает с банком договор банковского платежного агента</a:t>
            </a: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60300" y="1220528"/>
            <a:ext cx="8259724" cy="600132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ЦЕЛЬ -  Увеличить доступность основных банковских услуг для удаленных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               малых населенных пунктов </a:t>
            </a:r>
            <a:endParaRPr lang="ru-RU" sz="1500" dirty="0">
              <a:solidFill>
                <a:srgbClr val="1E6D36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792" y="1708448"/>
            <a:ext cx="2163970" cy="2178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83409" y="4537230"/>
            <a:ext cx="2966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1400" b="1" i="1" dirty="0">
                <a:solidFill>
                  <a:srgbClr val="1E6D36"/>
                </a:solidFill>
              </a:rPr>
              <a:t>* перечень услуг пополняется</a:t>
            </a:r>
          </a:p>
        </p:txBody>
      </p:sp>
    </p:spTree>
    <p:extLst>
      <p:ext uri="{BB962C8B-B14F-4D97-AF65-F5344CB8AC3E}">
        <p14:creationId xmlns:p14="http://schemas.microsoft.com/office/powerpoint/2010/main" val="44286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Прямая со стрелкой 49"/>
          <p:cNvCxnSpPr/>
          <p:nvPr/>
        </p:nvCxnSpPr>
        <p:spPr>
          <a:xfrm flipV="1">
            <a:off x="6409514" y="3004592"/>
            <a:ext cx="0" cy="11184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5" idx="3"/>
          </p:cNvCxnSpPr>
          <p:nvPr/>
        </p:nvCxnSpPr>
        <p:spPr>
          <a:xfrm>
            <a:off x="2487736" y="4354047"/>
            <a:ext cx="3236392" cy="137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4" idx="3"/>
          </p:cNvCxnSpPr>
          <p:nvPr/>
        </p:nvCxnSpPr>
        <p:spPr>
          <a:xfrm>
            <a:off x="2487736" y="3642266"/>
            <a:ext cx="32880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ЕКТ АГЕНТСКАЯ СЕТЬ</a:t>
            </a:r>
            <a:br>
              <a:rPr lang="ru-RU" dirty="0"/>
            </a:br>
            <a:r>
              <a:rPr lang="ru-RU" sz="2000" dirty="0">
                <a:solidFill>
                  <a:srgbClr val="1E6D36"/>
                </a:solidFill>
              </a:rPr>
              <a:t> снятие наличных</a:t>
            </a:r>
            <a:r>
              <a:rPr lang="ru-RU" sz="2000" dirty="0"/>
              <a:t>  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319" y="1636440"/>
            <a:ext cx="914985" cy="128024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690" y="3184517"/>
            <a:ext cx="1621430" cy="147076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00" y="1597078"/>
            <a:ext cx="1540089" cy="13040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91592" y="1258525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Клиент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436096" y="1258525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Агент Банка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95" y="1636440"/>
            <a:ext cx="746169" cy="126471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>
            <a:off x="3059832" y="2068488"/>
            <a:ext cx="19442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059832" y="2546200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874015" y="1698575"/>
            <a:ext cx="2444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Запрос выдачи наличных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39484" y="2212504"/>
            <a:ext cx="1853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ыдача наличных</a:t>
            </a:r>
          </a:p>
        </p:txBody>
      </p:sp>
      <p:sp>
        <p:nvSpPr>
          <p:cNvPr id="24" name="Rectangle 58"/>
          <p:cNvSpPr>
            <a:spLocks noChangeArrowheads="1"/>
          </p:cNvSpPr>
          <p:nvPr/>
        </p:nvSpPr>
        <p:spPr bwMode="auto">
          <a:xfrm>
            <a:off x="1043608" y="3364632"/>
            <a:ext cx="1444128" cy="55526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Списание денег с карты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1048052" y="4083795"/>
            <a:ext cx="1439684" cy="540503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Учет в выписке, смс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5724128" y="3350834"/>
            <a:ext cx="1370772" cy="58016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Зачисление суммы выдач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auto">
          <a:xfrm>
            <a:off x="5724128" y="4123054"/>
            <a:ext cx="1370772" cy="53398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Зачисление комисси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1" name="Прямая со стрелкой 30"/>
          <p:cNvCxnSpPr>
            <a:stCxn id="24" idx="0"/>
          </p:cNvCxnSpPr>
          <p:nvPr/>
        </p:nvCxnSpPr>
        <p:spPr>
          <a:xfrm flipV="1">
            <a:off x="1765672" y="307660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24" idx="2"/>
            <a:endCxn id="25" idx="0"/>
          </p:cNvCxnSpPr>
          <p:nvPr/>
        </p:nvCxnSpPr>
        <p:spPr>
          <a:xfrm>
            <a:off x="1765672" y="3919900"/>
            <a:ext cx="2222" cy="1638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198610" y="1981671"/>
            <a:ext cx="1080120" cy="7694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Ежедневная сверка итогов с Банком</a:t>
            </a:r>
          </a:p>
        </p:txBody>
      </p:sp>
    </p:spTree>
    <p:extLst>
      <p:ext uri="{BB962C8B-B14F-4D97-AF65-F5344CB8AC3E}">
        <p14:creationId xmlns:p14="http://schemas.microsoft.com/office/powerpoint/2010/main" val="2205392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3</a:t>
            </a:fld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юсы для участников проекта Агентская сет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692976" y="2164738"/>
            <a:ext cx="438864" cy="4078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6" y="2819362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Агент Бан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555776" y="1393344"/>
            <a:ext cx="18722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возможно снижение ставки по договору </a:t>
            </a:r>
            <a:r>
              <a:rPr lang="ru-RU" sz="1400" dirty="0" err="1"/>
              <a:t>Эквайринга</a:t>
            </a:r>
            <a:r>
              <a:rPr lang="ru-RU" sz="1400" dirty="0"/>
              <a:t> </a:t>
            </a:r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ельские жители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накомство с новыми технологиями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оступность основных банковских услуг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р/</a:t>
            </a:r>
            <a:r>
              <a:rPr lang="ru-RU" sz="1400" dirty="0" err="1"/>
              <a:t>сч</a:t>
            </a:r>
            <a:r>
              <a:rPr lang="ru-RU" sz="1400" dirty="0"/>
              <a:t> 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87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ходы и расходы Банковского платежного аген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34535" y="1730185"/>
            <a:ext cx="37221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Комиссия Агента </a:t>
            </a:r>
            <a:r>
              <a:rPr lang="ru-RU" sz="1200" dirty="0"/>
              <a:t>(от суммы операции)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/>
              <a:t>выдача наличных   – 0,01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/>
              <a:t>платежи   –  0,25%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11660" y="1119774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ОХОДЫ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652120" y="1119773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РАСХОДЫ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716016" y="1518651"/>
            <a:ext cx="0" cy="2850237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9552" y="1708448"/>
            <a:ext cx="3888432" cy="1008112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9552" y="2779585"/>
            <a:ext cx="3888432" cy="801071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Мотивационная программа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>
                <a:solidFill>
                  <a:schemeClr val="tx1"/>
                </a:solidFill>
              </a:rPr>
              <a:t>Бонус за сотрудничество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>
                <a:solidFill>
                  <a:schemeClr val="tx1"/>
                </a:solidFill>
              </a:rPr>
              <a:t>Бонус за результат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3645171"/>
            <a:ext cx="3888432" cy="43840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Специальная ставка </a:t>
            </a:r>
            <a:r>
              <a:rPr lang="ru-RU" sz="1600" dirty="0" err="1">
                <a:solidFill>
                  <a:schemeClr val="tx1"/>
                </a:solidFill>
              </a:rPr>
              <a:t>Эквайринга</a:t>
            </a:r>
            <a:r>
              <a:rPr lang="ru-RU" sz="1600" dirty="0">
                <a:solidFill>
                  <a:schemeClr val="tx1"/>
                </a:solidFill>
              </a:rPr>
              <a:t> 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26333" y="1840758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налогов с доходов Агента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9552" y="4148090"/>
            <a:ext cx="3888432" cy="745228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Дополнительная выручка*: </a:t>
            </a:r>
          </a:p>
          <a:p>
            <a:pPr algn="ctr"/>
            <a:r>
              <a:rPr lang="ru-RU" sz="1400" i="1" dirty="0">
                <a:solidFill>
                  <a:schemeClr val="tx1"/>
                </a:solidFill>
              </a:rPr>
              <a:t>Рост выручки от текущих клиентов – 5%</a:t>
            </a:r>
          </a:p>
          <a:p>
            <a:pPr algn="ctr"/>
            <a:r>
              <a:rPr lang="ru-RU" sz="1400" i="1" dirty="0">
                <a:solidFill>
                  <a:schemeClr val="tx1"/>
                </a:solidFill>
              </a:rPr>
              <a:t>Рост выручки от новых клиентов – 5%  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34716" y="2646334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за аренду кассы </a:t>
            </a:r>
            <a:r>
              <a:rPr lang="ru-RU" sz="1600" dirty="0" err="1">
                <a:solidFill>
                  <a:schemeClr val="tx1"/>
                </a:solidFill>
              </a:rPr>
              <a:t>Эвотор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400" i="1" dirty="0">
                <a:solidFill>
                  <a:schemeClr val="tx1"/>
                </a:solidFill>
              </a:rPr>
              <a:t>(при необходимости)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34716" y="3451910"/>
            <a:ext cx="3456384" cy="585740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за РКО и </a:t>
            </a:r>
            <a:r>
              <a:rPr lang="ru-RU" sz="1600" dirty="0" err="1">
                <a:solidFill>
                  <a:schemeClr val="tx1"/>
                </a:solidFill>
              </a:rPr>
              <a:t>Эквайринг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endParaRPr lang="ru-RU" sz="1200" i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716016" y="4368888"/>
            <a:ext cx="2561127" cy="109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644008" y="458876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solidFill>
                  <a:srgbClr val="1E6D36"/>
                </a:solidFill>
              </a:rPr>
              <a:t>*Оценка по  данным пилота 2018 года</a:t>
            </a:r>
          </a:p>
        </p:txBody>
      </p:sp>
    </p:spTree>
    <p:extLst>
      <p:ext uri="{BB962C8B-B14F-4D97-AF65-F5344CB8AC3E}">
        <p14:creationId xmlns:p14="http://schemas.microsoft.com/office/powerpoint/2010/main" val="3713197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330" y="3222717"/>
            <a:ext cx="2384888" cy="192237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ребования к Банковскому платежному агент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5</a:t>
            </a:fld>
            <a:endParaRPr lang="ru-RU"/>
          </a:p>
        </p:txBody>
      </p:sp>
      <p:grpSp>
        <p:nvGrpSpPr>
          <p:cNvPr id="29" name="Группа 28"/>
          <p:cNvGrpSpPr/>
          <p:nvPr/>
        </p:nvGrpSpPr>
        <p:grpSpPr>
          <a:xfrm>
            <a:off x="611560" y="1385203"/>
            <a:ext cx="7947650" cy="3071929"/>
            <a:chOff x="411539" y="1507185"/>
            <a:chExt cx="6845435" cy="26069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444615" y="2764401"/>
              <a:ext cx="6588563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Кассовое оборудование </a:t>
              </a:r>
              <a:r>
                <a:rPr lang="ru-RU" altLang="de-DE" dirty="0" err="1">
                  <a:solidFill>
                    <a:srgbClr val="000000"/>
                  </a:solidFill>
                </a:rPr>
                <a:t>Эвотор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411539" y="1507185"/>
              <a:ext cx="6483600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algn="l" defTabSz="330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kumimoji="0" lang="ru-RU" alt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орма налогообложения предприятия: УСН</a:t>
              </a:r>
              <a:endParaRPr kumimoji="0" lang="en-US" alt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31707" y="2320652"/>
              <a:ext cx="3440510" cy="234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эквайринга в Сбербанке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411539" y="1881860"/>
              <a:ext cx="6845435" cy="26382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расчётного счета в Сбербанке/открыть расчетный счет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48069" y="3173878"/>
              <a:ext cx="6588563" cy="9403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Устойчивая связь / Интернет сигнал не менее 128 кб/с для выдачи наличных, не менее 1</a:t>
              </a:r>
              <a:r>
                <a:rPr lang="ru-RU" dirty="0"/>
                <a:t>.0 </a:t>
              </a:r>
              <a:r>
                <a:rPr lang="ru-RU" dirty="0" err="1"/>
                <a:t>мб</a:t>
              </a:r>
              <a:r>
                <a:rPr lang="ru-RU" dirty="0"/>
                <a:t>/с минимальная, 1.5мб/с </a:t>
              </a:r>
              <a:r>
                <a:rPr lang="ru-RU" dirty="0" err="1"/>
                <a:t>рекомендуеиая</a:t>
              </a:r>
              <a:r>
                <a:rPr lang="ru-RU" dirty="0"/>
                <a:t> для приема платежей </a:t>
              </a:r>
              <a:endParaRPr lang="ru-RU" altLang="de-DE" dirty="0">
                <a:solidFill>
                  <a:srgbClr val="000000"/>
                </a:solidFill>
              </a:endParaRPr>
            </a:p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4032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/>
          <a:lstStyle/>
          <a:p>
            <a:r>
              <a:rPr lang="ru-RU" dirty="0"/>
              <a:t>Как стать Банковским платежным агент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03834" y="142041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1.</a:t>
            </a: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верить режим налогообложения  (возможно только для УСН,ОСН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212504"/>
            <a:ext cx="7416824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2. Подключить РКО и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ПАО Сбербанк </a:t>
            </a:r>
          </a:p>
          <a:p>
            <a:endParaRPr lang="ru-RU" sz="11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3. Подписать договор Банковского платежного агента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4. Получить ОКВЭД № 6619 (налоговая/личный кабинет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on-line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5. Зарегистрировать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вотор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в ФНС </a:t>
            </a:r>
          </a:p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- в случае аренды у Банка регистрацию проводит банковский специалист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28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Описание услуги «Выдача наличных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7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013548" y="1780456"/>
            <a:ext cx="7075647" cy="256224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лимит снятия наличных денежных средств  в сутки  – 5 000 рублей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бслуживание банковских карт, эмитированных ПАО Сбербанк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валюта выдачи – рубли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перации выдачи наличных кратны 100 рублям;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минимальная сумма выдачи 100 рублей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оведение операции через POS-терминал контактным способом с обязательным вводом PIN-кода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услуг ЖКХ при </a:t>
            </a:r>
            <a:r>
              <a:rPr lang="ru-RU" sz="1400"/>
              <a:t>предъявлении квитанции </a:t>
            </a:r>
            <a:endParaRPr lang="en-US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03" y="1225858"/>
            <a:ext cx="1493305" cy="362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341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Описание услуги «Прием платежей»</a:t>
            </a:r>
          </a:p>
        </p:txBody>
      </p:sp>
      <p:pic>
        <p:nvPicPr>
          <p:cNvPr id="7" name="Picture 6" descr="Picture 6">
            <a:extLst>
              <a:ext uri="{FF2B5EF4-FFF2-40B4-BE49-F238E27FC236}">
                <a16:creationId xmlns:a16="http://schemas.microsoft.com/office/drawing/2014/main" id="{03E78533-7E90-DD4D-A77A-BAAEFC7EE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3529" y="1564432"/>
            <a:ext cx="2733786" cy="29925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8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03848" y="1189022"/>
            <a:ext cx="5472608" cy="379334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риемы платежей на он-</a:t>
            </a:r>
            <a:r>
              <a:rPr lang="ru-RU" sz="1400" dirty="0" err="1"/>
              <a:t>лайн</a:t>
            </a:r>
            <a:r>
              <a:rPr lang="ru-RU" sz="1400" dirty="0"/>
              <a:t> кассе магазина должно быть установлено приложение Банка «Мои платежи»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ием платежей возможен как с использованием сканера </a:t>
            </a:r>
            <a:r>
              <a:rPr lang="ru-RU" sz="1400" dirty="0" err="1"/>
              <a:t>штрихкода</a:t>
            </a:r>
            <a:r>
              <a:rPr lang="ru-RU" sz="1400" dirty="0"/>
              <a:t> (2</a:t>
            </a:r>
            <a:r>
              <a:rPr lang="en-US" sz="1400" dirty="0"/>
              <a:t>d </a:t>
            </a:r>
            <a:r>
              <a:rPr lang="ru-RU" sz="1400" dirty="0"/>
              <a:t>сканер), так и с ручным вводом реквизитов с квитанции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одтверждения платежа (и суммы комиссии при наличии) клиент подписывает Распоряжение (печатается на он-</a:t>
            </a:r>
            <a:r>
              <a:rPr lang="ru-RU" sz="1400" dirty="0" err="1"/>
              <a:t>лайн</a:t>
            </a:r>
            <a:r>
              <a:rPr lang="ru-RU" sz="1400" dirty="0"/>
              <a:t> кассе)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возможна с  банковских карт любых банков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алюта операции – рубли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Комиссия банка равна комиссии в офисе Банка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 подтверждение факта приема платежа клиенту выдается чек </a:t>
            </a:r>
          </a:p>
        </p:txBody>
      </p:sp>
    </p:spTree>
    <p:extLst>
      <p:ext uri="{BB962C8B-B14F-4D97-AF65-F5344CB8AC3E}">
        <p14:creationId xmlns:p14="http://schemas.microsoft.com/office/powerpoint/2010/main" val="3766282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74</TotalTime>
  <Words>518</Words>
  <Application>Microsoft Office PowerPoint</Application>
  <PresentationFormat>Произвольный</PresentationFormat>
  <Paragraphs>89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Arial</vt:lpstr>
      <vt:lpstr>Calibri</vt:lpstr>
      <vt:lpstr>Century Schoolbook</vt:lpstr>
      <vt:lpstr>Wingdings</vt:lpstr>
      <vt:lpstr>Главный слайд</vt:lpstr>
      <vt:lpstr>sber_present_gedonizm1</vt:lpstr>
      <vt:lpstr>think-cell Slide</vt:lpstr>
      <vt:lpstr>ПРОЕКТ АГЕНТСКАЯ СЕТЬ</vt:lpstr>
      <vt:lpstr>ПРОЕКТ АГЕНТСКАЯ СЕТЬ  снятие наличных   </vt:lpstr>
      <vt:lpstr>Плюсы для участников проекта Агентская сеть</vt:lpstr>
      <vt:lpstr>Доходы и расходы Банковского платежного агента</vt:lpstr>
      <vt:lpstr>Требования к Банковскому платежному агенту</vt:lpstr>
      <vt:lpstr>Как стать Банковским платежным агентом</vt:lpstr>
      <vt:lpstr>Описание услуги «Выдача наличных»</vt:lpstr>
      <vt:lpstr>Описание услуги «Прием платежей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Семья Тищенко</cp:lastModifiedBy>
  <cp:revision>2992</cp:revision>
  <cp:lastPrinted>2017-02-13T10:48:59Z</cp:lastPrinted>
  <dcterms:created xsi:type="dcterms:W3CDTF">2014-10-09T11:20:04Z</dcterms:created>
  <dcterms:modified xsi:type="dcterms:W3CDTF">2021-05-20T14:27:52Z</dcterms:modified>
</cp:coreProperties>
</file>